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1"/>
  </p:notesMasterIdLst>
  <p:sldIdLst>
    <p:sldId id="261" r:id="rId2"/>
    <p:sldId id="262" r:id="rId3"/>
    <p:sldId id="263" r:id="rId4"/>
    <p:sldId id="264" r:id="rId5"/>
    <p:sldId id="265" r:id="rId6"/>
    <p:sldId id="266" r:id="rId7"/>
    <p:sldId id="267" r:id="rId8"/>
    <p:sldId id="268" r:id="rId9"/>
    <p:sldId id="269" r:id="rId10"/>
  </p:sldIdLst>
  <p:sldSz cx="9144000" cy="6858000" type="screen4x3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FF7C80"/>
    <a:srgbClr val="FFCCFF"/>
    <a:srgbClr val="CCFFCC"/>
    <a:srgbClr val="FFFFCC"/>
    <a:srgbClr val="D60093"/>
    <a:srgbClr val="660033"/>
    <a:srgbClr val="FF4747"/>
    <a:srgbClr val="FFCC66"/>
    <a:srgbClr val="FFCC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7106" autoAdjust="0"/>
    <p:restoredTop sz="97727" autoAdjust="0"/>
  </p:normalViewPr>
  <p:slideViewPr>
    <p:cSldViewPr>
      <p:cViewPr varScale="1">
        <p:scale>
          <a:sx n="110" d="100"/>
          <a:sy n="110" d="100"/>
        </p:scale>
        <p:origin x="-1434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626" y="0"/>
            <a:ext cx="2919565" cy="493868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A1DFFA96-792E-420A-B904-CFD82D1936F3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262" y="4686223"/>
            <a:ext cx="5389240" cy="4440077"/>
          </a:xfrm>
          <a:prstGeom prst="rect">
            <a:avLst/>
          </a:prstGeom>
        </p:spPr>
        <p:txBody>
          <a:bodyPr vert="horz" lIns="90763" tIns="45382" rIns="90763" bIns="4538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0868"/>
            <a:ext cx="2919565" cy="493867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626" y="9370868"/>
            <a:ext cx="2919565" cy="493867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1822F6DF-63D9-4EF2-9C70-13380159DE4D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58875" y="1227138"/>
            <a:ext cx="4418013" cy="33147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ставить слайд по экономике. Убрать флаги. Почему история? Темно красный убрать – оставляем только выравнивание. Непонятно оставить ли слайд по бюджетам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10632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hyperlink" Target="http://www.protown.ru/netcat_files/Image/gerb_chit.gif" TargetMode="Externa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639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640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9003" y="97868"/>
            <a:ext cx="7272355" cy="790489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30025" y="1366717"/>
            <a:ext cx="3683895" cy="2743813"/>
          </a:xfrm>
        </p:spPr>
        <p:txBody>
          <a:bodyPr>
            <a:normAutofit/>
          </a:bodyPr>
          <a:lstStyle>
            <a:lvl1pPr marL="165593" indent="-165593">
              <a:buClr>
                <a:srgbClr val="830051"/>
              </a:buClr>
              <a:defRPr sz="923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416176"/>
            <a:ext cx="2057400" cy="365125"/>
          </a:xfr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2" y="6416176"/>
            <a:ext cx="3086100" cy="365125"/>
          </a:xfr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2041" y="6457422"/>
            <a:ext cx="471879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230026" y="993603"/>
            <a:ext cx="3683896" cy="345146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292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86535" y="993604"/>
            <a:ext cx="4629150" cy="5119067"/>
          </a:xfrm>
        </p:spPr>
        <p:txBody>
          <a:bodyPr>
            <a:normAutofit/>
          </a:bodyPr>
          <a:lstStyle>
            <a:lvl1pPr marL="0" indent="0">
              <a:buNone/>
              <a:defRPr sz="1108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5236683" y="4264356"/>
            <a:ext cx="1784017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7129906" y="4264356"/>
            <a:ext cx="1784017" cy="1848314"/>
          </a:xfrm>
        </p:spPr>
        <p:txBody>
          <a:bodyPr>
            <a:normAutofit/>
          </a:bodyPr>
          <a:lstStyle>
            <a:lvl1pPr marL="0" indent="0">
              <a:buNone/>
              <a:defRPr sz="923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>
            <a:off x="394421" y="922946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9" descr="Картинка 1 из 968">
            <a:hlinkClick r:id="rId2"/>
            <a:extLst>
              <a:ext uri="{FF2B5EF4-FFF2-40B4-BE49-F238E27FC236}">
                <a16:creationId xmlns="" xmlns:a16="http://schemas.microsoft.com/office/drawing/2014/main" id="{87200A93-A39B-D54D-A3AB-7AAB72FD32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84769" y="-33485"/>
            <a:ext cx="729152" cy="10194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2680521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2133600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marL="0" indent="-283464" algn="l" rtl="0" eaLnBrk="1" latinLnBrk="0" hangingPunct="1">
              <a:lnSpc>
                <a:spcPts val="3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2"/>
              <a:buNone/>
            </a:pPr>
            <a:endParaRPr kumimoji="0" lang="en-US" sz="3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00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7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Овал 7"/>
          <p:cNvSpPr/>
          <p:nvPr/>
        </p:nvSpPr>
        <p:spPr>
          <a:xfrm>
            <a:off x="168816" y="21102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Кольцо 10"/>
          <p:cNvSpPr/>
          <p:nvPr/>
        </p:nvSpPr>
        <p:spPr>
          <a:xfrm rot="2315675">
            <a:off x="182881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012873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31A5F211-C2E9-4065-9209-3C1B23A2ECF9}" type="datetimeFigureOut">
              <a:rPr lang="ru-RU" smtClean="0"/>
              <a:pPr/>
              <a:t>20.01.2020</a:t>
            </a:fld>
            <a:endParaRPr lang="ru-RU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/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60F3B912-143C-4307-AD2E-3818399D0BB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6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03" y="292312"/>
            <a:ext cx="7850597" cy="400110"/>
          </a:xfrm>
        </p:spPr>
        <p:txBody>
          <a:bodyPr wrap="square">
            <a:spAutoFit/>
          </a:bodyPr>
          <a:lstStyle/>
          <a:p>
            <a:pPr algn="ctr"/>
            <a:r>
              <a:rPr lang="ru-RU" sz="2000" cap="all" dirty="0" smtClean="0">
                <a:solidFill>
                  <a:schemeClr val="bg2">
                    <a:lumMod val="50000"/>
                  </a:schemeClr>
                </a:solidFill>
              </a:rPr>
              <a:t>МИНИСТЕРСТВО ФИНАНСОВ ЗАБАЙКАЛЬСКОГО КРАЯ</a:t>
            </a:r>
            <a:endParaRPr lang="ru-RU" sz="2000" cap="all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00100" y="2285992"/>
            <a:ext cx="7851380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600" b="1" dirty="0" smtClean="0">
                <a:solidFill>
                  <a:schemeClr val="accent5">
                    <a:lumMod val="50000"/>
                  </a:schemeClr>
                </a:solidFill>
              </a:rPr>
              <a:t>Изменения бюджетного законодательства </a:t>
            </a:r>
            <a:endParaRPr lang="ru-RU" sz="2600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r>
              <a:rPr lang="ru-RU" sz="2600" b="1" dirty="0" smtClean="0">
                <a:solidFill>
                  <a:schemeClr val="accent5">
                    <a:lumMod val="50000"/>
                  </a:schemeClr>
                </a:solidFill>
              </a:rPr>
              <a:t>в </a:t>
            </a:r>
            <a:r>
              <a:rPr lang="ru-RU" sz="2600" b="1" dirty="0" smtClean="0">
                <a:solidFill>
                  <a:schemeClr val="accent5">
                    <a:lumMod val="50000"/>
                  </a:schemeClr>
                </a:solidFill>
              </a:rPr>
              <a:t>сфере регулирования межбюджетных отношений</a:t>
            </a:r>
            <a:endParaRPr lang="ru-RU" sz="26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57422" y="5429264"/>
            <a:ext cx="65744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Голышева Анна Анатольевна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– начальник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управления в сфере </a:t>
            </a:r>
            <a:endParaRPr lang="ru-RU" dirty="0" smtClean="0">
              <a:solidFill>
                <a:schemeClr val="accent5">
                  <a:lumMod val="50000"/>
                </a:schemeClr>
              </a:solidFill>
            </a:endParaRPr>
          </a:p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межбюджетных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отношений с муниципальными образованиями</a:t>
            </a:r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482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5852" y="285728"/>
            <a:ext cx="6858048" cy="400110"/>
          </a:xfrm>
        </p:spPr>
        <p:txBody>
          <a:bodyPr wrap="square">
            <a:spAutoFit/>
          </a:bodyPr>
          <a:lstStyle/>
          <a:p>
            <a:pPr algn="ctr"/>
            <a:r>
              <a:rPr lang="ru-RU" sz="2000" cap="all" dirty="0" smtClean="0">
                <a:solidFill>
                  <a:schemeClr val="bg2">
                    <a:lumMod val="50000"/>
                  </a:schemeClr>
                </a:solidFill>
              </a:rPr>
              <a:t>МИНИСТЕРСТВО ФИНАНСОВ ЗАБАЙКАЛЬСКОГО КРАЯ</a:t>
            </a:r>
            <a:endParaRPr lang="ru-RU" sz="2000" cap="all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214414" y="1142984"/>
            <a:ext cx="764386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Федеральный закон от 02.08.2019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№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07-ФЗ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О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внесении изменений в Бюджетный кодекс Российской Федерации в целях совершенствования межбюджетных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отношений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трелка вниз 11"/>
          <p:cNvSpPr/>
          <p:nvPr/>
        </p:nvSpPr>
        <p:spPr>
          <a:xfrm>
            <a:off x="4929190" y="2071678"/>
            <a:ext cx="285752" cy="285752"/>
          </a:xfrm>
          <a:prstGeom prst="downArrow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357290" y="2357430"/>
            <a:ext cx="75009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Закон Забайкальского края от 20.12.2011 № 608-ЗЗК «О межбюджетных отношениях в Забайкальском крае»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142976" y="3357562"/>
            <a:ext cx="77867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остановление Правительства Забайкальского края № 29 от 14.02.2017 «Об утверждении правил предоставления и распределения субсидий из бюджета Забайкальского края местным бюджетам» 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4929190" y="3000372"/>
            <a:ext cx="285752" cy="285752"/>
          </a:xfrm>
          <a:prstGeom prst="downArrow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4929190" y="4286256"/>
            <a:ext cx="285752" cy="285752"/>
          </a:xfrm>
          <a:prstGeom prst="downArrow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1071538" y="4643446"/>
            <a:ext cx="792961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иказы Министерства финансов Забайкальского края:</a:t>
            </a:r>
          </a:p>
          <a:p>
            <a:pPr algn="just">
              <a:buFontTx/>
              <a:buChar char="-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Об утверждении предельного уровня софинансирования Забайкальским краем (в процентах) объема расходного обязательства муниципального образования Забайкальского края на 2020 год»;</a:t>
            </a:r>
          </a:p>
          <a:p>
            <a:pPr algn="just">
              <a:buFontTx/>
              <a:buChar char="-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О некоторых вопросах, связанных с заключением соглашений о предоставлении субсидий из бюджета Забайкальского края бюджетам муниципальных образований Забайкальского края»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1506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03" y="292312"/>
            <a:ext cx="7850597" cy="707886"/>
          </a:xfr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кон Забайкальского края от 20.12.2011 N </a:t>
            </a:r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608-ЗЗК</a:t>
            </a:r>
            <a:b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 межбюджетных отношениях в Забайкальском крае»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1000100" y="1000108"/>
            <a:ext cx="7929618" cy="5262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о МБТ, предоставляемым из краевого бюджета: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Распределение субсидий законом о бюджете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Внесение изменений в распределение субсидий в пределах сумм, утвержденных законом. Вносятся постановлением Правительства случаи и порядок внесения утверждается законом о межбюджетных отношениях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Субвенции из федерального бюджета распределяются в соответствии с федеральными методиками и используются на цели, предусмотренные федеральными порядками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Дотации на сбалансированность и иные дотации могут предоставляться с установлением условий и в целях поощрения. Распределяются либо законом о бюджете, либо постановлением Правительства по методике и в порядке, определенном постановлением Правительства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Иные межбюджетные трансферты представляются в случаях и порядке, предусмотренных законами Забайкальского края и принимаемыми в соответствии с ними постановлениями Правительства на расходные обязательства муниципальных образований.</a:t>
            </a: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7890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03" y="292312"/>
            <a:ext cx="7850597" cy="707886"/>
          </a:xfr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кон Забайкальского края от 20.12.2011 N 608-ЗЗК «О межбюджетных отношениях в Забайкальском крае»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1000100" y="1000108"/>
            <a:ext cx="7929618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о МБТ, предоставляемым из местных бюджетов: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Учтена возможность предоставления субсидий из бюджета одного муниципального образования бюджету другого муниципального образования.</a:t>
            </a: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8914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662" y="142852"/>
            <a:ext cx="7286676" cy="830997"/>
          </a:xfr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ановление Правительства Забайкальского края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№ 29 от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4.02.2017 «Об утверждении правил предоставления и распределения субсидий из бюджета Забайкальского края местным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юджетам» 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1000100" y="1000108"/>
            <a:ext cx="7929618" cy="5601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53975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400" b="1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Изменения внесены постановлением Правительства № 478 от 12.12.2019 года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убсидии предусматриваются в соответствии с перечнем, утверждаемым законом о бюджете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орядки предоставления и распределения устанавливаются нормативными правовыми актами Правительства, если субсидия предусмотрена государственной программой, порядок устанавливается соответствующей программой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Установлены требования к содержанию порядков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kumimoji="0" lang="ru-RU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Соглашения заключаются в электронном виде в ПК «</a:t>
            </a:r>
            <a:r>
              <a:rPr kumimoji="0" lang="ru-RU" sz="16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Бюджет-СМАРТ</a:t>
            </a:r>
            <a:r>
              <a:rPr kumimoji="0" lang="ru-RU" sz="16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Про» в соответствии с типовой формой, утверждаемой Минфином Забайкальского края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оглашение заключается на срок, который не может быть менее срока, на который утверждено распределение субсидий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В случае уточнения объема ассигнований (внесение изменений в распределение законом о бюджете или перераспределение постановлением Правительства) соответствующие изменения вносятся в соглашение</a:t>
            </a:r>
            <a:r>
              <a:rPr lang="ru-RU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;</a:t>
            </a:r>
            <a:endParaRPr lang="ru-RU" sz="14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9938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100" y="142852"/>
            <a:ext cx="7215238" cy="830997"/>
          </a:xfr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становление Правительства Забайкальского края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№ 29 от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4.02.2017 «Об утверждении правил предоставления и распределения субсидий из бюджета Забайкальского края местным </a:t>
            </a:r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юджетам» 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28662" y="1000108"/>
            <a:ext cx="7929618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еречисление субсидий осуществляется в соответствии с порядком УФК в виде подкрепления фактически произведенных кассовых расходов из бюджета муниципального образования в пределах доведенных </a:t>
            </a:r>
            <a:r>
              <a:rPr lang="ru-RU" sz="1600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ГРБСом</a:t>
            </a: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предельных объемов финансирования</a:t>
            </a: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;</a:t>
            </a: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Определены </a:t>
            </a: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лучаи нарушения муниципальными образованиями обязательств, предусмотренных соглашениями и методики расчета сумм возвратов средств субсидий по каждому нарушению</a:t>
            </a: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;</a:t>
            </a: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ГРБС определен ответственным за расчет объема средств, подлежащего возврату при нарушении обязательств муниципальным образованием</a:t>
            </a: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;</a:t>
            </a: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ри отсутствии на 30 марта или на 30-ый день со дня вступления в силу закона о внесении изменений в закон о бюджете заключенного соглашения на предоставление субсидий средства подлежат перераспределению другому </a:t>
            </a: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ГРБС;</a:t>
            </a: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Утвержден порядок определения уровня софинансирования Забайкальским краем расходного обязательства муниципального образования и порядок освобождения муниципальных образований от принятия мер ответственности за нарушения обязательств по соглашению.</a:t>
            </a:r>
            <a:endParaRPr lang="ru-RU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962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538" y="292312"/>
            <a:ext cx="7158062" cy="400110"/>
          </a:xfr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казы Министерства финансов Забайкальского края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1000100" y="1000108"/>
            <a:ext cx="7929618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№ 317-пд «Об утверждении предельного уровня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софинансирования Забайкальским краем (в процентах) объема расходного обязательства муниципального образования Забайкальского края на 2020 год»: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Уровень софинансирования установлен для субсидий, предоставляемых бюджетам муниципальных образований из бюджета Забайкальского края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В отношении субсидий, предоставляемых в целях софинансирования расходных обязательств муниципальных образований, возникших при реализации государственных программ и (или) региональных проектов предусматривается в размере не более 99%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6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6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В отношении субсидий, предоставляемых на конкурсной основе уровень софинансирования определяется по условиям конкурса, но не более 99%.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1986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538" y="292312"/>
            <a:ext cx="7158062" cy="400110"/>
          </a:xfr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казы Министерства финансов Забайкальского края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1285852" y="500042"/>
            <a:ext cx="7715304" cy="572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№ 327-пд «О некоторых вопросах,</a:t>
            </a:r>
            <a:r>
              <a:rPr kumimoji="0" lang="ru-RU" sz="16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связанных с заключением соглашений о предоставлении субсидий из бюджета Забайкальского края бюджетам муниципальных образований Забайкальского края»: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Соглашения заключаются в электронном виде в ПК «</a:t>
            </a:r>
            <a:r>
              <a:rPr lang="ru-RU" sz="1500" dirty="0" err="1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Бюджет-СМАРТ</a:t>
            </a: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 про»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5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Утверждена типовая форма соглашения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endParaRPr lang="ru-RU" sz="1500" dirty="0" smtClean="0"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риложениями регламентированы: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еречень мероприятий, в целях софинансирования которых предоставляется субсидия (обязательно для заполнения всеми)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еречень объектов строительства и (или) приобретения объектов недвижимого имущества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еречень объектов капитального и (или) текущего ремонта объектов недвижимого имущества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График выполнения работ по строительству, ремонту, приобретению объектов недвижимого имущества;</a:t>
            </a: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График перечисления субсидии (обязательно для заполнения всеми);</a:t>
            </a: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Показатели результатов использования субсидии </a:t>
            </a: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(обязательно для заполнения всеми</a:t>
            </a: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);</a:t>
            </a: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Отчет о расходах;</a:t>
            </a:r>
          </a:p>
          <a:p>
            <a:pPr lvl="0" indent="539750" algn="just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Arial" pitchFamily="34" charset="0"/>
                <a:ea typeface="Times New Roman" pitchFamily="18" charset="0"/>
                <a:cs typeface="Arial" pitchFamily="34" charset="0"/>
              </a:rPr>
              <a:t>Отчет о достижении значений показателей результативности.</a:t>
            </a:r>
            <a:endParaRPr kumimoji="0" lang="ru-RU" sz="15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676F63D-BC9D-4139-BC4B-CDEBFF73A9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178842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3010" name="think-cell Slide" r:id="rId5" imgW="360" imgH="360" progId="">
              <p:embed/>
            </p:oleObj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46BF260-8496-48F1-97C9-25E5769643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="" xmlns:a16="http://schemas.microsoft.com/office/drawing/2014/main" id="{03776AF9-A4B6-4411-82FF-C8C63B636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538" y="292312"/>
            <a:ext cx="7158062" cy="400110"/>
          </a:xfrm>
        </p:spPr>
        <p:txBody>
          <a:bodyPr wrap="square">
            <a:spAutoFit/>
          </a:bodyPr>
          <a:lstStyle/>
          <a:p>
            <a:pPr algn="ctr"/>
            <a:r>
              <a:rPr lang="ru-RU" sz="2000" cap="all" dirty="0" smtClean="0">
                <a:solidFill>
                  <a:schemeClr val="bg2">
                    <a:lumMod val="50000"/>
                  </a:schemeClr>
                </a:solidFill>
              </a:rPr>
              <a:t>МИНИСТЕРСТВО ФИНАНСОВ ЗАБАЙКАЛЬСКОГО КРАЯ</a:t>
            </a:r>
            <a:endParaRPr lang="ru-RU" sz="2000" dirty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507" name="Rectangle 3"/>
          <p:cNvSpPr>
            <a:spLocks noChangeArrowheads="1"/>
          </p:cNvSpPr>
          <p:nvPr/>
        </p:nvSpPr>
        <p:spPr bwMode="auto">
          <a:xfrm>
            <a:off x="1000100" y="2928934"/>
            <a:ext cx="792961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539750" algn="just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50000"/>
                  </a:schemeClr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Доклад закончен, благодарю за внимание!</a:t>
            </a:r>
            <a:endParaRPr kumimoji="0" lang="ru-RU" sz="2400" i="0" u="none" strike="noStrike" cap="none" normalizeH="0" baseline="0" dirty="0" smtClean="0">
              <a:ln>
                <a:noFill/>
              </a:ln>
              <a:solidFill>
                <a:schemeClr val="accent5">
                  <a:lumMod val="50000"/>
                </a:schemeClr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24313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jiLM9LRJWO_5RCZj4vg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olstice</Template>
  <TotalTime>800</TotalTime>
  <Words>1056</Words>
  <Application>Microsoft Office PowerPoint</Application>
  <PresentationFormat>Экран (4:3)</PresentationFormat>
  <Paragraphs>102</Paragraphs>
  <Slides>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Солнцестояние</vt:lpstr>
      <vt:lpstr>think-cell Slide</vt:lpstr>
      <vt:lpstr>МИНИСТЕРСТВО ФИНАНСОВ ЗАБАЙКАЛЬСКОГО КРАЯ</vt:lpstr>
      <vt:lpstr>МИНИСТЕРСТВО ФИНАНСОВ ЗАБАЙКАЛЬСКОГО КРАЯ</vt:lpstr>
      <vt:lpstr>Закон Забайкальского края от 20.12.2011 N 608-ЗЗК  «О межбюджетных отношениях в Забайкальском крае»</vt:lpstr>
      <vt:lpstr>Закон Забайкальского края от 20.12.2011 N 608-ЗЗК «О межбюджетных отношениях в Забайкальском крае»</vt:lpstr>
      <vt:lpstr>Постановление Правительства Забайкальского края № 29 от 14.02.2017 «Об утверждении правил предоставления и распределения субсидий из бюджета Забайкальского края местным бюджетам» </vt:lpstr>
      <vt:lpstr>Постановление Правительства Забайкальского края № 29 от 14.02.2017 «Об утверждении правил предоставления и распределения субсидий из бюджета Забайкальского края местным бюджетам» </vt:lpstr>
      <vt:lpstr>Приказы Министерства финансов Забайкальского края</vt:lpstr>
      <vt:lpstr>Приказы Министерства финансов Забайкальского края</vt:lpstr>
      <vt:lpstr>МИНИСТЕРСТВО ФИНАНСОВ ЗАБАЙКАЛЬСКОГО КРАЯ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инистерство финансов Забайкальского края</dc:title>
  <dc:creator>V</dc:creator>
  <cp:lastModifiedBy>АГолышева</cp:lastModifiedBy>
  <cp:revision>131</cp:revision>
  <cp:lastPrinted>2017-05-24T02:44:15Z</cp:lastPrinted>
  <dcterms:created xsi:type="dcterms:W3CDTF">2013-07-04T20:11:50Z</dcterms:created>
  <dcterms:modified xsi:type="dcterms:W3CDTF">2020-01-20T05:16:47Z</dcterms:modified>
</cp:coreProperties>
</file>